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7ED8DC36-8645-4312-B450-A1CEFF3A1730}">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presProps" Target="presProps.xml"/><Relationship Id="rId36" Type="http://schemas.openxmlformats.org/officeDocument/2006/relationships/viewProps" Target="viewProps.xml"/><Relationship Id="rId37" Type="http://schemas.openxmlformats.org/officeDocument/2006/relationships/theme" Target="theme/theme1.xml"/><Relationship Id="rId38" Type="http://schemas.openxmlformats.org/officeDocument/2006/relationships/tableStyles" Target="tableStyles.xml"/><Relationship Id="rId39" Type="http://schemas.microsoft.com/office/2015/10/relationships/revisionInfo" Target="revisionInfo.xml"/><Relationship Id="rId4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5.6599708699316915e-06</c:v>
                </c:pt>
                <c:pt idx="1">
                  <c:v/>
                </c:pt>
                <c:pt idx="2">
                  <c:v/>
                </c:pt>
                <c:pt idx="3">
                  <c:v>3.899245403064461e-06</c:v>
                </c:pt>
                <c:pt idx="4">
                  <c:v/>
                </c:pt>
                <c:pt idx="5">
                  <c:v>0.012979111242508808</c:v>
                </c:pt>
                <c:pt idx="6">
                  <c:v>0.0004935823641226859</c:v>
                </c:pt>
                <c:pt idx="7">
                  <c:v>5.349708609113182e-06</c:v>
                </c:pt>
                <c:pt idx="8">
                  <c:v>0.0006723590290709871</c:v>
                </c:pt>
                <c:pt idx="9">
                  <c:v>0.012004984989918943</c:v>
                </c:pt>
                <c:pt idx="10">
                  <c:v>0.000864626056624322</c:v>
                </c:pt>
                <c:pt idx="11">
                  <c:v>4.653084935942071e-05</c:v>
                </c:pt>
                <c:pt idx="12">
                  <c:v>1.1819937348404654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0.020414795047385217</c:v>
                </c:pt>
                <c:pt idx="7">
                  <c:v/>
                </c:pt>
                <c:pt idx="8">
                  <c:v>0.07340172764031956</c:v>
                </c:pt>
                <c:pt idx="9">
                  <c:v/>
                </c:pt>
                <c:pt idx="10">
                  <c:v>0.015271064113262924</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013210000998416393</c:v>
                </c:pt>
                <c:pt idx="1">
                  <c:v>0.0019200574149634607</c:v>
                </c:pt>
                <c:pt idx="2">
                  <c:v>2.0942137241289717e-07</c:v>
                </c:pt>
                <c:pt idx="3">
                  <c:v>0.061681669626251885</c:v>
                </c:pt>
                <c:pt idx="4">
                  <c:v>0.027371261184344728</c:v>
                </c:pt>
                <c:pt idx="5">
                  <c:v>0.0341174341265634</c:v>
                </c:pt>
                <c:pt idx="6">
                  <c:v>0.11202142177201879</c:v>
                </c:pt>
                <c:pt idx="7">
                  <c:v>0.12558123125571202</c:v>
                </c:pt>
                <c:pt idx="8">
                  <c:v>0.44086480824993957</c:v>
                </c:pt>
                <c:pt idx="9">
                  <c:v>0.0643504981996082</c:v>
                </c:pt>
                <c:pt idx="10">
                  <c:v>0.13114877323465618</c:v>
                </c:pt>
                <c:pt idx="11">
                  <c:v>0.0005045559208205016</c:v>
                </c:pt>
                <c:pt idx="12">
                  <c:v>0.00030597958376470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15271064113262924</c:v>
                </c:pt>
                <c:pt idx="4">
                  <c:v/>
                </c:pt>
                <c:pt idx="5">
                  <c:v>0.07340172764031956</c:v>
                </c:pt>
                <c:pt idx="6">
                  <c:v>0.020414795047385217</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1968898780611883e-07</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7.148203296867518e-07</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11202142177201879</c:v>
                </c:pt>
                <c:pt idx="6">
                  <c:v>0.0341174341265634</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7.148203296867518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4371210895374736</c:v>
                </c:pt>
                <c:pt idx="9">
                  <c:v/>
                </c:pt>
                <c:pt idx="10">
                  <c:v>0.004369274925996972</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7720050625362799</c:v>
                </c:pt>
                <c:pt idx="9">
                  <c:v/>
                </c:pt>
                <c:pt idx="10">
                  <c:v>0.006425403785250638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11202142177201879</c:v>
                </c:pt>
                <c:pt idx="6">
                  <c:v>0.0341174341265634</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64254037852506385</c:v>
                </c:pt>
                <c:pt idx="4">
                  <c:v/>
                </c:pt>
                <c:pt idx="5">
                  <c:v>0.007720050625362799</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5.6599708699316915e-06</c:v>
                </c:pt>
                <c:pt idx="1">
                  <c:v/>
                </c:pt>
                <c:pt idx="2">
                  <c:v/>
                </c:pt>
                <c:pt idx="3">
                  <c:v>3.899245403064461e-06</c:v>
                </c:pt>
                <c:pt idx="4">
                  <c:v/>
                </c:pt>
                <c:pt idx="5">
                  <c:v>0.012979111242508808</c:v>
                </c:pt>
                <c:pt idx="6">
                  <c:v>0.0004935823641226859</c:v>
                </c:pt>
                <c:pt idx="7">
                  <c:v>5.349708609113182e-06</c:v>
                </c:pt>
                <c:pt idx="8">
                  <c:v>0.0006723590290709871</c:v>
                </c:pt>
                <c:pt idx="9">
                  <c:v>0.012004984989918943</c:v>
                </c:pt>
                <c:pt idx="10">
                  <c:v>0.000864626056624322</c:v>
                </c:pt>
                <c:pt idx="11">
                  <c:v>4.653084935942071e-05</c:v>
                </c:pt>
                <c:pt idx="12">
                  <c:v>1.1819937348404654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3.487033366796044e-07</c:v>
                </c:pt>
                <c:pt idx="1">
                  <c:v/>
                </c:pt>
                <c:pt idx="2">
                  <c:v/>
                </c:pt>
                <c:pt idx="3">
                  <c:v/>
                </c:pt>
                <c:pt idx="4">
                  <c:v/>
                </c:pt>
                <c:pt idx="5">
                  <c:v/>
                </c:pt>
                <c:pt idx="6">
                  <c:v/>
                </c:pt>
                <c:pt idx="7">
                  <c:v/>
                </c:pt>
                <c:pt idx="8">
                  <c:v>0.0184504201569202</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20061875223393498</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0.020061875223393498</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8643750143114343</c:v>
                </c:pt>
                <c:pt idx="10">
                  <c:v>0.000733400756829008</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1.6928073600213875e-07</c:v>
                </c:pt>
                <c:pt idx="6">
                  <c:v>0.02103873803653275</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117273956299957e-06</c:v>
                </c:pt>
                <c:pt idx="1">
                  <c:v/>
                </c:pt>
                <c:pt idx="2">
                  <c:v/>
                </c:pt>
                <c:pt idx="3">
                  <c:v/>
                </c:pt>
                <c:pt idx="4">
                  <c:v/>
                </c:pt>
                <c:pt idx="5">
                  <c:v/>
                </c:pt>
                <c:pt idx="6">
                  <c:v>0.0051615494878992614</c:v>
                </c:pt>
                <c:pt idx="7">
                  <c:v/>
                </c:pt>
                <c:pt idx="8">
                  <c:v>0.036835582975118936</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4.811008039194433e-06</c:v>
                </c:pt>
                <c:pt idx="7">
                  <c:v/>
                </c:pt>
                <c:pt idx="8">
                  <c:v>2.5045541851100435e-05</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14319697218272151</c:v>
                </c:pt>
                <c:pt idx="10">
                  <c:v>0.0070262163140070825</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2.5045541851100435e-05</c:v>
                </c:pt>
                <c:pt idx="6">
                  <c:v>4.811008039194433e-06</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3.487033366796044e-07</c:v>
                </c:pt>
                <c:pt idx="1">
                  <c:v/>
                </c:pt>
                <c:pt idx="2">
                  <c:v/>
                </c:pt>
                <c:pt idx="3">
                  <c:v/>
                </c:pt>
                <c:pt idx="4">
                  <c:v/>
                </c:pt>
                <c:pt idx="5">
                  <c:v/>
                </c:pt>
                <c:pt idx="6">
                  <c:v/>
                </c:pt>
                <c:pt idx="7">
                  <c:v/>
                </c:pt>
                <c:pt idx="8">
                  <c:v>0.0184504201569202</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938323508989468</c:v>
                </c:pt>
                <c:pt idx="10">
                  <c:v>0.0013558621545661643</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2.815609740400782e-06</c:v>
                </c:pt>
                <c:pt idx="1">
                  <c:v/>
                </c:pt>
                <c:pt idx="2">
                  <c:v/>
                </c:pt>
                <c:pt idx="3">
                  <c:v/>
                </c:pt>
                <c:pt idx="4">
                  <c:v/>
                </c:pt>
                <c:pt idx="5">
                  <c:v/>
                </c:pt>
                <c:pt idx="6">
                  <c:v/>
                </c:pt>
                <c:pt idx="7">
                  <c:v/>
                </c:pt>
                <c:pt idx="8">
                  <c:v>0.021894296264203028</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11202142177201879</c:v>
                </c:pt>
                <c:pt idx="6">
                  <c:v>0.0341174341265634</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0.021894296264203028</c:v>
                </c:pt>
                <c:pt idx="6">
                  <c:v/>
                </c:pt>
                <c:pt idx="7">
                  <c:v/>
                </c:pt>
                <c:pt idx="8">
                  <c:v/>
                </c:pt>
                <c:pt idx="9">
                  <c:v/>
                </c:pt>
                <c:pt idx="10">
                  <c:v/>
                </c:pt>
                <c:pt idx="11">
                  <c:v/>
                </c:pt>
                <c:pt idx="12">
                  <c:v>2.81560974040078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1.6928073600213875e-07</c:v>
                </c:pt>
                <c:pt idx="6">
                  <c:v>0.02103873803653275</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11202142177201879</c:v>
                </c:pt>
                <c:pt idx="6">
                  <c:v>0.0341174341265634</c:v>
                </c:pt>
                <c:pt idx="7">
                  <c:v>0.12558123125571202</c:v>
                </c:pt>
                <c:pt idx="8">
                  <c:v>0.44086480824993957</c:v>
                </c:pt>
                <c:pt idx="9">
                  <c:v>0.13114877323465618</c:v>
                </c:pt>
                <c:pt idx="10">
                  <c:v>0.0643504981996082</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117273956299957e-06</c:v>
                </c:pt>
                <c:pt idx="1">
                  <c:v/>
                </c:pt>
                <c:pt idx="2">
                  <c:v/>
                </c:pt>
                <c:pt idx="3">
                  <c:v/>
                </c:pt>
                <c:pt idx="4">
                  <c:v/>
                </c:pt>
                <c:pt idx="5">
                  <c:v/>
                </c:pt>
                <c:pt idx="6">
                  <c:v>0.0051615494878992614</c:v>
                </c:pt>
                <c:pt idx="7">
                  <c:v/>
                </c:pt>
                <c:pt idx="8">
                  <c:v>0.036835582975118936</c:v>
                </c:pt>
                <c:pt idx="9">
                  <c:v/>
                </c:pt>
                <c:pt idx="10">
                  <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0.002998279604987192</c:v>
                </c:pt>
                <c:pt idx="7">
                  <c:v/>
                </c:pt>
                <c:pt idx="8">
                  <c:v>0.09269665310194002</c:v>
                </c:pt>
                <c:pt idx="9">
                  <c:v/>
                </c:pt>
                <c:pt idx="10">
                  <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0341174341265634</c:v>
                </c:pt>
                <c:pt idx="6">
                  <c:v>0.11202142177201879</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0.09269665310194002</c:v>
                </c:pt>
                <c:pt idx="6">
                  <c:v>0.002998279604987192</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13558621545661643</c:v>
                </c:pt>
                <c:pt idx="3">
                  <c:v>0.0938323508989468</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0.0009760724665227757</c:v>
                </c:pt>
                <c:pt idx="10">
                  <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10915669711020806</c:v>
                </c:pt>
                <c:pt idx="10">
                  <c:v>0.0002886323863801986</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14319697218272151</c:v>
                </c:pt>
                <c:pt idx="10">
                  <c:v>0.0070262163140070825</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14239974674932673</c:v>
                </c:pt>
                <c:pt idx="10">
                  <c:v>0.00037473488960441937</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037473488960441937</c:v>
                </c:pt>
                <c:pt idx="3">
                  <c:v>0.014239974674932673</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0.0009760724665227757</c:v>
                </c:pt>
                <c:pt idx="10">
                  <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10915669711020806</c:v>
                </c:pt>
                <c:pt idx="10">
                  <c:v>0.0002886323863801986</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14319697218272151</c:v>
                </c:pt>
                <c:pt idx="10">
                  <c:v>0.0070262163140070825</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1607670486383379</c:v>
                </c:pt>
                <c:pt idx="10">
                  <c:v>0.0006288140586293703</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11202142177201879</c:v>
                </c:pt>
                <c:pt idx="6">
                  <c:v>0.0341174341265634</c:v>
                </c:pt>
                <c:pt idx="7">
                  <c:v>0.12558123125571202</c:v>
                </c:pt>
                <c:pt idx="8">
                  <c:v>0.44086480824993957</c:v>
                </c:pt>
                <c:pt idx="9">
                  <c:v>0.13114877323465618</c:v>
                </c:pt>
                <c:pt idx="10">
                  <c:v>0.0643504981996082</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06288140586293703</c:v>
                </c:pt>
                <c:pt idx="3">
                  <c:v>0.01607670486383379</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08643750143114343</c:v>
                </c:pt>
                <c:pt idx="10">
                  <c:v>0.000733400756829008</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0.0018683280720899879</c:v>
                </c:pt>
                <c:pt idx="1">
                  <c:v>0.009880025263925264</c:v>
                </c:pt>
                <c:pt idx="2">
                  <c:v/>
                </c:pt>
                <c:pt idx="3">
                  <c:v>0.001581206590789193</c:v>
                </c:pt>
                <c:pt idx="4">
                  <c:v/>
                </c:pt>
                <c:pt idx="5">
                  <c:v>1.6928073600213875e-07</c:v>
                </c:pt>
                <c:pt idx="6">
                  <c:v>0.02103873803653275</c:v>
                </c:pt>
                <c:pt idx="7">
                  <c:v>3.528268470974668e-06</c:v>
                </c:pt>
                <c:pt idx="8">
                  <c:v>0.0279463314705986</c:v>
                </c:pt>
                <c:pt idx="9">
                  <c:v>0.0009760724665227757</c:v>
                </c:pt>
                <c:pt idx="10">
                  <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0.00302759702440282</c:v>
                </c:pt>
                <c:pt idx="7">
                  <c:v/>
                </c:pt>
                <c:pt idx="8">
                  <c:v>0.010300165534904381</c:v>
                </c:pt>
                <c:pt idx="9">
                  <c:v>0.005019714778849591</c:v>
                </c:pt>
                <c:pt idx="10">
                  <c:v>6.8875095034413e-0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6734815821609363</c:v>
                </c:pt>
                <c:pt idx="4">
                  <c:v>0.0029885767359849693</c:v>
                </c:pt>
                <c:pt idx="5">
                  <c:v>0.00372516886362787</c:v>
                </c:pt>
                <c:pt idx="6">
                  <c:v>0.012231245494500597</c:v>
                </c:pt>
                <c:pt idx="7">
                  <c:v>0.013711795875223731</c:v>
                </c:pt>
                <c:pt idx="8">
                  <c:v>0.04813655829654773</c:v>
                </c:pt>
                <c:pt idx="9">
                  <c:v>0.014319697218272151</c:v>
                </c:pt>
                <c:pt idx="10">
                  <c:v>0.0070262163140070825</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0.0060152603360252395</c:v>
                </c:pt>
                <c:pt idx="7">
                  <c:v/>
                </c:pt>
                <c:pt idx="8">
                  <c:v>0.014249279373871063</c:v>
                </c:pt>
                <c:pt idx="9">
                  <c:v>0.007130152239989029</c:v>
                </c:pt>
                <c:pt idx="10">
                  <c:v>7.999417785376034e-0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7.999417785376034e-05</c:v>
                </c:pt>
                <c:pt idx="3">
                  <c:v>0.007130152239989029</c:v>
                </c:pt>
                <c:pt idx="4">
                  <c:v/>
                </c:pt>
                <c:pt idx="5">
                  <c:v>0.014249279373871063</c:v>
                </c:pt>
                <c:pt idx="6">
                  <c:v>0.0060152603360252395</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
                </c:pt>
                <c:pt idx="2">
                  <c:v>0.009880025263925264</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8019103502611428e-08</c:v>
                </c:pt>
                <c:pt idx="1">
                  <c:v/>
                </c:pt>
                <c:pt idx="2">
                  <c:v>0.011365939873101784</c:v>
                </c:pt>
                <c:pt idx="3">
                  <c:v/>
                </c:pt>
                <c:pt idx="4">
                  <c:v>0.00672495241358043</c:v>
                </c:pt>
                <c:pt idx="5">
                  <c:v>6.531925019696642e-09</c:v>
                </c:pt>
                <c:pt idx="6">
                  <c:v>0.004236687653741004</c:v>
                </c:pt>
                <c:pt idx="7">
                  <c:v/>
                </c:pt>
                <c:pt idx="8">
                  <c:v>0.008253454852098161</c:v>
                </c:pt>
                <c:pt idx="9">
                  <c:v>1.1937656070480072e-08</c:v>
                </c:pt>
                <c:pt idx="10">
                  <c:v>0.0016438807853940965</c:v>
                </c:pt>
                <c:pt idx="11">
                  <c:v>1.0996157912468623e-05</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2.2866021313230638e-08</c:v>
                </c:pt>
                <c:pt idx="2">
                  <c:v>0.0002096446664795001</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0.013117158676907078</c:v>
                </c:pt>
                <c:pt idx="3">
                  <c:v/>
                </c:pt>
                <c:pt idx="4">
                  <c:v>0.008544938853233212</c:v>
                </c:pt>
                <c:pt idx="5">
                  <c:v/>
                </c:pt>
                <c:pt idx="6">
                  <c:v>0.0036803737621203944</c:v>
                </c:pt>
                <c:pt idx="7">
                  <c:v/>
                </c:pt>
                <c:pt idx="8">
                  <c:v>0.01307984440436927</c:v>
                </c:pt>
                <c:pt idx="9">
                  <c:v/>
                </c:pt>
                <c:pt idx="10">
                  <c:v>0.0007976119185496874</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07976119185496874</c:v>
                </c:pt>
                <c:pt idx="4">
                  <c:v/>
                </c:pt>
                <c:pt idx="5">
                  <c:v>0.01307984440436927</c:v>
                </c:pt>
                <c:pt idx="6">
                  <c:v>0.0036803737621203944</c:v>
                </c:pt>
                <c:pt idx="7">
                  <c:v/>
                </c:pt>
                <c:pt idx="8">
                  <c:v>0.008544938853233212</c:v>
                </c:pt>
                <c:pt idx="9">
                  <c:v/>
                </c:pt>
                <c:pt idx="10">
                  <c:v>0.013117158676907078</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6382732248426071</c:v>
                </c:pt>
                <c:pt idx="5">
                  <c:v/>
                </c:pt>
                <c:pt idx="6">
                  <c:v>0.0029900386807783577</c:v>
                </c:pt>
                <c:pt idx="7">
                  <c:v>1.0631271066540742e-07</c:v>
                </c:pt>
                <c:pt idx="8">
                  <c:v>0.011047008723508169</c:v>
                </c:pt>
                <c:pt idx="9">
                  <c:v/>
                </c:pt>
                <c:pt idx="10">
                  <c:v>0.00548909913600378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6968080919904252</c:v>
                </c:pt>
                <c:pt idx="5">
                  <c:v/>
                </c:pt>
                <c:pt idx="6">
                  <c:v>0.004484730103724654</c:v>
                </c:pt>
                <c:pt idx="7">
                  <c:v/>
                </c:pt>
                <c:pt idx="8">
                  <c:v>0.011764920110831023</c:v>
                </c:pt>
                <c:pt idx="9">
                  <c:v/>
                </c:pt>
                <c:pt idx="10">
                  <c:v>0.00668743189734493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6687431897344936</c:v>
                </c:pt>
                <c:pt idx="4">
                  <c:v/>
                </c:pt>
                <c:pt idx="5">
                  <c:v>0.011764920110831023</c:v>
                </c:pt>
                <c:pt idx="6">
                  <c:v>0.004484730103724654</c:v>
                </c:pt>
                <c:pt idx="7">
                  <c:v/>
                </c:pt>
                <c:pt idx="8">
                  <c:v>0.006968080919904252</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0.0018683280720899879</c:v>
                </c:pt>
                <c:pt idx="1">
                  <c:v>0.009880025263925264</c:v>
                </c:pt>
                <c:pt idx="2">
                  <c:v/>
                </c:pt>
                <c:pt idx="3">
                  <c:v>0.001581206590789193</c:v>
                </c:pt>
                <c:pt idx="4">
                  <c:v/>
                </c:pt>
                <c:pt idx="5">
                  <c:v>1.6928073600213875e-07</c:v>
                </c:pt>
                <c:pt idx="6">
                  <c:v>0.02103873803653275</c:v>
                </c:pt>
                <c:pt idx="7">
                  <c:v>3.528268470974668e-06</c:v>
                </c:pt>
                <c:pt idx="8">
                  <c:v>0.0279463314705986</c:v>
                </c:pt>
                <c:pt idx="9">
                  <c:v>0.0009760724665227757</c:v>
                </c:pt>
                <c:pt idx="10">
                  <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0.00302759702440282</c:v>
                </c:pt>
                <c:pt idx="7">
                  <c:v/>
                </c:pt>
                <c:pt idx="8">
                  <c:v>0.010300165534904381</c:v>
                </c:pt>
                <c:pt idx="9">
                  <c:v>0.005019714778849591</c:v>
                </c:pt>
                <c:pt idx="10">
                  <c:v>6.8875095034413e-0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6734815821609363</c:v>
                </c:pt>
                <c:pt idx="4">
                  <c:v>0.0029885767359849693</c:v>
                </c:pt>
                <c:pt idx="5">
                  <c:v>0.00372516886362787</c:v>
                </c:pt>
                <c:pt idx="6">
                  <c:v>0.012231245494500597</c:v>
                </c:pt>
                <c:pt idx="7">
                  <c:v>0.013711795875223731</c:v>
                </c:pt>
                <c:pt idx="8">
                  <c:v>0.04813655829654773</c:v>
                </c:pt>
                <c:pt idx="9">
                  <c:v>0.014319697218272151</c:v>
                </c:pt>
                <c:pt idx="10">
                  <c:v>0.0070262163140070825</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0.003027397924249747</c:v>
                </c:pt>
                <c:pt idx="7">
                  <c:v/>
                </c:pt>
                <c:pt idx="8">
                  <c:v>0.010885058477386517</c:v>
                </c:pt>
                <c:pt idx="9">
                  <c:v>0.006341110751669937</c:v>
                </c:pt>
                <c:pt idx="10">
                  <c:v>0.0001594455959547471</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0.00013210000998416393</c:v>
                </c:pt>
                <c:pt idx="1">
                  <c:v>0.0019200574149634607</c:v>
                </c:pt>
                <c:pt idx="2">
                  <c:v>2.0942137241289717e-07</c:v>
                </c:pt>
                <c:pt idx="3">
                  <c:v>0.061681669626251885</c:v>
                </c:pt>
                <c:pt idx="4">
                  <c:v>0.027371261184344728</c:v>
                </c:pt>
                <c:pt idx="5">
                  <c:v>0.0341174341265634</c:v>
                </c:pt>
                <c:pt idx="6">
                  <c:v>0.11202142177201879</c:v>
                </c:pt>
                <c:pt idx="7">
                  <c:v>0.12558123125571202</c:v>
                </c:pt>
                <c:pt idx="8">
                  <c:v>0.44086480824993957</c:v>
                </c:pt>
                <c:pt idx="9">
                  <c:v>0.13114877323465618</c:v>
                </c:pt>
                <c:pt idx="10">
                  <c:v>0.0643504981996082</c:v>
                </c:pt>
                <c:pt idx="11">
                  <c:v>0.0005045559208205016</c:v>
                </c:pt>
                <c:pt idx="12">
                  <c:v>0.00030597958376470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0.0001594455959547471</c:v>
                </c:pt>
                <c:pt idx="3">
                  <c:v>0.006341110751669937</c:v>
                </c:pt>
                <c:pt idx="4">
                  <c:v/>
                </c:pt>
                <c:pt idx="5">
                  <c:v>0.010885058477386517</c:v>
                </c:pt>
                <c:pt idx="6">
                  <c:v>0.003027397924249747</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
                </c:pt>
                <c:pt idx="2">
                  <c:v>0.009880025263925264</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
                </c:pt>
                <c:pt idx="4">
                  <c:v>0.001581206590789193</c:v>
                </c:pt>
                <c:pt idx="5">
                  <c:v>1.6928073600213875e-07</c:v>
                </c:pt>
                <c:pt idx="6">
                  <c:v>0.02103873803653275</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8019103502611428e-08</c:v>
                </c:pt>
                <c:pt idx="1">
                  <c:v/>
                </c:pt>
                <c:pt idx="2">
                  <c:v>0.011365939873101784</c:v>
                </c:pt>
                <c:pt idx="3">
                  <c:v/>
                </c:pt>
                <c:pt idx="4">
                  <c:v>0.00672495241358043</c:v>
                </c:pt>
                <c:pt idx="5">
                  <c:v>6.531925019696642e-09</c:v>
                </c:pt>
                <c:pt idx="6">
                  <c:v>0.004236687653741004</c:v>
                </c:pt>
                <c:pt idx="7">
                  <c:v/>
                </c:pt>
                <c:pt idx="8">
                  <c:v>0.008253454852098161</c:v>
                </c:pt>
                <c:pt idx="9">
                  <c:v>1.1937656070480072e-08</c:v>
                </c:pt>
                <c:pt idx="10">
                  <c:v>0.0016438807853940965</c:v>
                </c:pt>
                <c:pt idx="11">
                  <c:v/>
                </c:pt>
                <c:pt idx="12">
                  <c:v>1.0996157912468623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0600378682627869e-07</c:v>
                </c:pt>
                <c:pt idx="1">
                  <c:v/>
                </c:pt>
                <c:pt idx="2">
                  <c:v>0.017543291482773286</c:v>
                </c:pt>
                <c:pt idx="3">
                  <c:v/>
                </c:pt>
                <c:pt idx="4">
                  <c:v>0.008665182825658672</c:v>
                </c:pt>
                <c:pt idx="5">
                  <c:v/>
                </c:pt>
                <c:pt idx="6">
                  <c:v>0.001076612885380411</c:v>
                </c:pt>
                <c:pt idx="7">
                  <c:v/>
                </c:pt>
                <c:pt idx="8">
                  <c:v>0.010776193913363263</c:v>
                </c:pt>
                <c:pt idx="9">
                  <c:v/>
                </c:pt>
                <c:pt idx="10">
                  <c:v>0.0022795160322909794</c:v>
                </c:pt>
                <c:pt idx="11">
                  <c:v/>
                </c:pt>
                <c:pt idx="12">
                  <c:v>3.115318790090798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27371261184344728</c:v>
                </c:pt>
                <c:pt idx="4">
                  <c:v>0.061681669626251885</c:v>
                </c:pt>
                <c:pt idx="5">
                  <c:v>0.0341174341265634</c:v>
                </c:pt>
                <c:pt idx="6">
                  <c:v>0.11202142177201879</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3.115318790090798e-05</c:v>
                </c:pt>
                <c:pt idx="1">
                  <c:v/>
                </c:pt>
                <c:pt idx="2">
                  <c:v/>
                </c:pt>
                <c:pt idx="3">
                  <c:v>0.0022795160322909794</c:v>
                </c:pt>
                <c:pt idx="4">
                  <c:v/>
                </c:pt>
                <c:pt idx="5">
                  <c:v>0.010776193913363263</c:v>
                </c:pt>
                <c:pt idx="6">
                  <c:v>0.001076612885380411</c:v>
                </c:pt>
                <c:pt idx="7">
                  <c:v/>
                </c:pt>
                <c:pt idx="8">
                  <c:v>0.008665182825658672</c:v>
                </c:pt>
                <c:pt idx="9">
                  <c:v/>
                </c:pt>
                <c:pt idx="10">
                  <c:v>0.017543291482773286</c:v>
                </c:pt>
                <c:pt idx="11">
                  <c:v/>
                </c:pt>
                <c:pt idx="12">
                  <c:v>1.0600378682627869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0.09318942391174119</c:v>
                </c:pt>
                <c:pt idx="3">
                  <c:v/>
                </c:pt>
                <c:pt idx="4">
                  <c:v>0.055137933884248834</c:v>
                </c:pt>
                <c:pt idx="5">
                  <c:v>5.355530087404042e-08</c:v>
                </c:pt>
                <c:pt idx="6">
                  <c:v>0.034736632971327265</c:v>
                </c:pt>
                <c:pt idx="7">
                  <c:v/>
                </c:pt>
                <c:pt idx="8">
                  <c:v>0.06767013652507513</c:v>
                </c:pt>
                <c:pt idx="9">
                  <c:v>9.787692918359111e-08</c:v>
                </c:pt>
                <c:pt idx="10">
                  <c:v>0.01347819054832375</c:v>
                </c:pt>
                <c:pt idx="11">
                  <c:v>9.015757891967771e-05</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6382732248426071</c:v>
                </c:pt>
                <c:pt idx="5">
                  <c:v/>
                </c:pt>
                <c:pt idx="6">
                  <c:v>0.0029900386807783577</c:v>
                </c:pt>
                <c:pt idx="7">
                  <c:v>1.0631271066540742e-07</c:v>
                </c:pt>
                <c:pt idx="8">
                  <c:v>0.011047008723508169</c:v>
                </c:pt>
                <c:pt idx="9">
                  <c:v/>
                </c:pt>
                <c:pt idx="10">
                  <c:v>0.00548909913600378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9944876440793532</c:v>
                </c:pt>
                <c:pt idx="5">
                  <c:v/>
                </c:pt>
                <c:pt idx="6">
                  <c:v>0.002441524269792252</c:v>
                </c:pt>
                <c:pt idx="7">
                  <c:v/>
                </c:pt>
                <c:pt idx="8">
                  <c:v>0.010215575661117129</c:v>
                </c:pt>
                <c:pt idx="9">
                  <c:v/>
                </c:pt>
                <c:pt idx="10">
                  <c:v>0.00763081642447054</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013210000998416393</c:v>
                </c:pt>
                <c:pt idx="1">
                  <c:v>0.0019200574149634607</c:v>
                </c:pt>
                <c:pt idx="2">
                  <c:v>2.0942137241289717e-07</c:v>
                </c:pt>
                <c:pt idx="3">
                  <c:v>0.027371261184344728</c:v>
                </c:pt>
                <c:pt idx="4">
                  <c:v>0.061681669626251885</c:v>
                </c:pt>
                <c:pt idx="5">
                  <c:v>0.0341174341265634</c:v>
                </c:pt>
                <c:pt idx="6">
                  <c:v>0.11202142177201879</c:v>
                </c:pt>
                <c:pt idx="7">
                  <c:v>0.12558123125571202</c:v>
                </c:pt>
                <c:pt idx="8">
                  <c:v>0.44086480824993957</c:v>
                </c:pt>
                <c:pt idx="9">
                  <c:v>0.0643504981996082</c:v>
                </c:pt>
                <c:pt idx="10">
                  <c:v>0.13114877323465618</c:v>
                </c:pt>
                <c:pt idx="11">
                  <c:v>0.0005045559208205016</c:v>
                </c:pt>
                <c:pt idx="12">
                  <c:v>0.00030597958376470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2.2866021313230638e-08</c:v>
                </c:pt>
                <c:pt idx="2">
                  <c:v>0.0002096446664795001</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763081642447054</c:v>
                </c:pt>
                <c:pt idx="4">
                  <c:v/>
                </c:pt>
                <c:pt idx="5">
                  <c:v>0.010215575661117129</c:v>
                </c:pt>
                <c:pt idx="6">
                  <c:v>0.002441524269792252</c:v>
                </c:pt>
                <c:pt idx="7">
                  <c:v/>
                </c:pt>
                <c:pt idx="8">
                  <c:v>0.009944876440793532</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0.0018683280720899879</c:v>
                </c:pt>
                <c:pt idx="1">
                  <c:v>0.009880025263925264</c:v>
                </c:pt>
                <c:pt idx="2">
                  <c:v/>
                </c:pt>
                <c:pt idx="3">
                  <c:v>0.001581206590789193</c:v>
                </c:pt>
                <c:pt idx="4">
                  <c:v/>
                </c:pt>
                <c:pt idx="5">
                  <c:v>1.6928073600213875e-07</c:v>
                </c:pt>
                <c:pt idx="6">
                  <c:v>0.02103873803653275</c:v>
                </c:pt>
                <c:pt idx="7">
                  <c:v>3.528268470974668e-06</c:v>
                </c:pt>
                <c:pt idx="8">
                  <c:v>0.0279463314705986</c:v>
                </c:pt>
                <c:pt idx="9">
                  <c:v>0.0009760724665227757</c:v>
                </c:pt>
                <c:pt idx="10">
                  <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6.303006127739208e-09</c:v>
                </c:pt>
                <c:pt idx="1">
                  <c:v/>
                </c:pt>
                <c:pt idx="2">
                  <c:v/>
                </c:pt>
                <c:pt idx="3">
                  <c:v/>
                </c:pt>
                <c:pt idx="4">
                  <c:v/>
                </c:pt>
                <c:pt idx="5">
                  <c:v/>
                </c:pt>
                <c:pt idx="6">
                  <c:v>0.0017290459149053223</c:v>
                </c:pt>
                <c:pt idx="7">
                  <c:v>7.523216660958272e-06</c:v>
                </c:pt>
                <c:pt idx="8">
                  <c:v>0.006215875943684904</c:v>
                </c:pt>
                <c:pt idx="9">
                  <c:v>0.005233754392138392</c:v>
                </c:pt>
                <c:pt idx="10">
                  <c:v>5.92005348400671e-0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6734815821609363</c:v>
                </c:pt>
                <c:pt idx="4">
                  <c:v>0.0029885767359849693</c:v>
                </c:pt>
                <c:pt idx="5">
                  <c:v>0.00372516886362787</c:v>
                </c:pt>
                <c:pt idx="6">
                  <c:v>0.012231245494500597</c:v>
                </c:pt>
                <c:pt idx="7">
                  <c:v>0.013711795875223731</c:v>
                </c:pt>
                <c:pt idx="8">
                  <c:v>0.04813655829654773</c:v>
                </c:pt>
                <c:pt idx="9">
                  <c:v>0.014319697218272151</c:v>
                </c:pt>
                <c:pt idx="10">
                  <c:v>0.0070262163140070825</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0.09902539055901118</c:v>
                </c:pt>
                <c:pt idx="3">
                  <c:v/>
                </c:pt>
                <c:pt idx="4">
                  <c:v>0.06450832288352</c:v>
                </c:pt>
                <c:pt idx="5">
                  <c:v/>
                </c:pt>
                <c:pt idx="6">
                  <c:v>0.0277842525331899</c:v>
                </c:pt>
                <c:pt idx="7">
                  <c:v/>
                </c:pt>
                <c:pt idx="8">
                  <c:v>0.09874369385147747</c:v>
                </c:pt>
                <c:pt idx="9">
                  <c:v/>
                </c:pt>
                <c:pt idx="10">
                  <c:v>0.006021413150086919</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0.002458112429236194</c:v>
                </c:pt>
                <c:pt idx="7">
                  <c:v/>
                </c:pt>
                <c:pt idx="8">
                  <c:v>0.006326594173333363</c:v>
                </c:pt>
                <c:pt idx="9">
                  <c:v>0.005917458469078597</c:v>
                </c:pt>
                <c:pt idx="10">
                  <c:v>6.69992923342294e-0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
                </c:pt>
                <c:pt idx="1">
                  <c:v/>
                </c:pt>
                <c:pt idx="2">
                  <c:v>6.69992923342294e-05</c:v>
                </c:pt>
                <c:pt idx="3">
                  <c:v>0.005917458469078597</c:v>
                </c:pt>
                <c:pt idx="4">
                  <c:v/>
                </c:pt>
                <c:pt idx="5">
                  <c:v>0.006326594173333363</c:v>
                </c:pt>
                <c:pt idx="6">
                  <c:v>0.002458112429236194</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
                </c:pt>
                <c:pt idx="2">
                  <c:v>0.009880025263925264</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3.048596841375903e-08</c:v>
                </c:pt>
                <c:pt idx="1">
                  <c:v/>
                </c:pt>
                <c:pt idx="2">
                  <c:v>0.00649103290439469</c:v>
                </c:pt>
                <c:pt idx="3">
                  <c:v/>
                </c:pt>
                <c:pt idx="4">
                  <c:v>0.0038405875699152707</c:v>
                </c:pt>
                <c:pt idx="5">
                  <c:v>3.7303505653966744e-09</c:v>
                </c:pt>
                <c:pt idx="6">
                  <c:v>0.0025128495530158694</c:v>
                </c:pt>
                <c:pt idx="7">
                  <c:v/>
                </c:pt>
                <c:pt idx="8">
                  <c:v>0.005379331451585775</c:v>
                </c:pt>
                <c:pt idx="9">
                  <c:v>6.817537240207715e-09</c:v>
                </c:pt>
                <c:pt idx="10">
                  <c:v>0.0009388123101150345</c:v>
                </c:pt>
                <c:pt idx="11">
                  <c:v>6.2798522276781255e-06</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2.2866021313230638e-08</c:v>
                </c:pt>
                <c:pt idx="2">
                  <c:v>0.0002096446664795001</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0.005360275196546936</c:v>
                </c:pt>
                <c:pt idx="3">
                  <c:v/>
                </c:pt>
                <c:pt idx="4">
                  <c:v>0.00349185558543508</c:v>
                </c:pt>
                <c:pt idx="5">
                  <c:v/>
                </c:pt>
                <c:pt idx="6">
                  <c:v>0.0015040910202591446</c:v>
                </c:pt>
                <c:pt idx="7">
                  <c:v/>
                </c:pt>
                <c:pt idx="8">
                  <c:v>0.005345655670590976</c:v>
                </c:pt>
                <c:pt idx="9">
                  <c:v/>
                </c:pt>
                <c:pt idx="10">
                  <c:v>0.00032594096700217813</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032594096700217813</c:v>
                </c:pt>
                <c:pt idx="4">
                  <c:v/>
                </c:pt>
                <c:pt idx="5">
                  <c:v>0.005345655670590976</c:v>
                </c:pt>
                <c:pt idx="6">
                  <c:v>0.0015040910202591446</c:v>
                </c:pt>
                <c:pt idx="7">
                  <c:v/>
                </c:pt>
                <c:pt idx="8">
                  <c:v>0.00349185558543508</c:v>
                </c:pt>
                <c:pt idx="9">
                  <c:v/>
                </c:pt>
                <c:pt idx="10">
                  <c:v>0.005360275196546936</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14319697218272151</c:v>
                </c:pt>
                <c:pt idx="10">
                  <c:v>0.0070262163140070825</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6021413150086919</c:v>
                </c:pt>
                <c:pt idx="4">
                  <c:v/>
                </c:pt>
                <c:pt idx="5">
                  <c:v>0.09874369385147747</c:v>
                </c:pt>
                <c:pt idx="6">
                  <c:v>0.0277842525331899</c:v>
                </c:pt>
                <c:pt idx="7">
                  <c:v/>
                </c:pt>
                <c:pt idx="8">
                  <c:v>0.06450832288352</c:v>
                </c:pt>
                <c:pt idx="9">
                  <c:v/>
                </c:pt>
                <c:pt idx="10">
                  <c:v>0.09902539055901118</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36451473003585645</c:v>
                </c:pt>
                <c:pt idx="5">
                  <c:v/>
                </c:pt>
                <c:pt idx="6">
                  <c:v>0.0017075965277870697</c:v>
                </c:pt>
                <c:pt idx="7">
                  <c:v>6.07146712712838e-08</c:v>
                </c:pt>
                <c:pt idx="8">
                  <c:v>0.0063088928781969604</c:v>
                </c:pt>
                <c:pt idx="9">
                  <c:v/>
                </c:pt>
                <c:pt idx="10">
                  <c:v>0.003134797782241089</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28474788056236087</c:v>
                </c:pt>
                <c:pt idx="5">
                  <c:v/>
                </c:pt>
                <c:pt idx="6">
                  <c:v>0.0018326672818652619</c:v>
                </c:pt>
                <c:pt idx="7">
                  <c:v/>
                </c:pt>
                <c:pt idx="8">
                  <c:v>0.004807688235903353</c:v>
                </c:pt>
                <c:pt idx="9">
                  <c:v/>
                </c:pt>
                <c:pt idx="10">
                  <c:v>0.002732792688636377</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2732792688636377</c:v>
                </c:pt>
                <c:pt idx="4">
                  <c:v/>
                </c:pt>
                <c:pt idx="5">
                  <c:v>0.004807688235903353</c:v>
                </c:pt>
                <c:pt idx="6">
                  <c:v>0.0018326672818652619</c:v>
                </c:pt>
                <c:pt idx="7">
                  <c:v/>
                </c:pt>
                <c:pt idx="8">
                  <c:v>0.0028474788056236087</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0">
                  <c:v>0.0018683280720899879</c:v>
                </c:pt>
                <c:pt idx="1">
                  <c:v/>
                </c:pt>
                <c:pt idx="2">
                  <c:v>0.009880025263925264</c:v>
                </c:pt>
                <c:pt idx="3">
                  <c:v>0.001581206590789193</c:v>
                </c:pt>
                <c:pt idx="4">
                  <c:v/>
                </c:pt>
                <c:pt idx="5">
                  <c:v>1.6928073600213875e-07</c:v>
                </c:pt>
                <c:pt idx="6">
                  <c:v>0.02103873803653275</c:v>
                </c:pt>
                <c:pt idx="7">
                  <c:v>0.0279463314705986</c:v>
                </c:pt>
                <c:pt idx="8">
                  <c:v>3.528268470974668e-06</c:v>
                </c:pt>
                <c:pt idx="9">
                  <c:v>0.0009760724665227757</c:v>
                </c:pt>
                <c:pt idx="10">
                  <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0">
                  <c:v>6.303006127739208e-09</c:v>
                </c:pt>
                <c:pt idx="1">
                  <c:v/>
                </c:pt>
                <c:pt idx="2">
                  <c:v/>
                </c:pt>
                <c:pt idx="3">
                  <c:v/>
                </c:pt>
                <c:pt idx="4">
                  <c:v/>
                </c:pt>
                <c:pt idx="5">
                  <c:v/>
                </c:pt>
                <c:pt idx="6">
                  <c:v>0.0017290459149053223</c:v>
                </c:pt>
                <c:pt idx="7">
                  <c:v>0.006215875943684904</c:v>
                </c:pt>
                <c:pt idx="8">
                  <c:v>7.523216660958272e-06</c:v>
                </c:pt>
                <c:pt idx="9">
                  <c:v>0.005233754392138392</c:v>
                </c:pt>
                <c:pt idx="10">
                  <c:v>5.92005348400671e-05</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0372516886362787</c:v>
                </c:pt>
                <c:pt idx="6">
                  <c:v>0.012231245494500597</c:v>
                </c:pt>
                <c:pt idx="7">
                  <c:v>0.04813655829654773</c:v>
                </c:pt>
                <c:pt idx="8">
                  <c:v>0.013711795875223731</c:v>
                </c:pt>
                <c:pt idx="9">
                  <c:v>0.014319697218272151</c:v>
                </c:pt>
                <c:pt idx="10">
                  <c:v>0.0070262163140070825</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0">
                  <c:v>4.001553729815362e-08</c:v>
                </c:pt>
                <c:pt idx="1">
                  <c:v/>
                </c:pt>
                <c:pt idx="2">
                  <c:v/>
                </c:pt>
                <c:pt idx="3">
                  <c:v/>
                </c:pt>
                <c:pt idx="4">
                  <c:v/>
                </c:pt>
                <c:pt idx="5">
                  <c:v/>
                </c:pt>
                <c:pt idx="6">
                  <c:v>0.0018658240570478485</c:v>
                </c:pt>
                <c:pt idx="7">
                  <c:v>0.007019763196135041</c:v>
                </c:pt>
                <c:pt idx="8">
                  <c:v>3.917521101489239e-05</c:v>
                </c:pt>
                <c:pt idx="9">
                  <c:v>0.006924850424881912</c:v>
                </c:pt>
                <c:pt idx="10">
                  <c:v>0.00014107028520473976</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0">
                  <c:v>0.00013210000998416393</c:v>
                </c:pt>
                <c:pt idx="1">
                  <c:v>2.0942137241289717e-07</c:v>
                </c:pt>
                <c:pt idx="2">
                  <c:v>0.0019200574149634607</c:v>
                </c:pt>
                <c:pt idx="3">
                  <c:v>0.061681669626251885</c:v>
                </c:pt>
                <c:pt idx="4">
                  <c:v>0.027371261184344728</c:v>
                </c:pt>
                <c:pt idx="5">
                  <c:v>0.0341174341265634</c:v>
                </c:pt>
                <c:pt idx="6">
                  <c:v>0.11202142177201879</c:v>
                </c:pt>
                <c:pt idx="7">
                  <c:v>0.44086480824993957</c:v>
                </c:pt>
                <c:pt idx="8">
                  <c:v>0.12558123125571202</c:v>
                </c:pt>
                <c:pt idx="9">
                  <c:v>0.13114877323465618</c:v>
                </c:pt>
                <c:pt idx="10">
                  <c:v>0.0643504981996082</c:v>
                </c:pt>
                <c:pt idx="11">
                  <c:v>0.0005045559208205016</c:v>
                </c:pt>
                <c:pt idx="12">
                  <c:v>0.00030597958376470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0">
                  <c:v/>
                </c:pt>
                <c:pt idx="1">
                  <c:v/>
                </c:pt>
                <c:pt idx="2">
                  <c:v>0.00014107028520473976</c:v>
                </c:pt>
                <c:pt idx="3">
                  <c:v>0.006924850424881912</c:v>
                </c:pt>
                <c:pt idx="4">
                  <c:v>3.917521101489239e-05</c:v>
                </c:pt>
                <c:pt idx="5">
                  <c:v>0.007019763196135041</c:v>
                </c:pt>
                <c:pt idx="6">
                  <c:v>0.0018658240570478485</c:v>
                </c:pt>
                <c:pt idx="7">
                  <c:v/>
                </c:pt>
                <c:pt idx="8">
                  <c:v/>
                </c:pt>
                <c:pt idx="9">
                  <c:v/>
                </c:pt>
                <c:pt idx="10">
                  <c:v/>
                </c:pt>
                <c:pt idx="11">
                  <c:v/>
                </c:pt>
                <c:pt idx="12">
                  <c:v>4.001553729815362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
                </c:pt>
                <c:pt idx="4">
                  <c:v>0.001581206590789193</c:v>
                </c:pt>
                <c:pt idx="5">
                  <c:v>1.6928073600213875e-07</c:v>
                </c:pt>
                <c:pt idx="6">
                  <c:v>0.02103873803653275</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3.048596841375903e-08</c:v>
                </c:pt>
                <c:pt idx="1">
                  <c:v/>
                </c:pt>
                <c:pt idx="2">
                  <c:v>0.00649103290439469</c:v>
                </c:pt>
                <c:pt idx="3">
                  <c:v/>
                </c:pt>
                <c:pt idx="4">
                  <c:v>0.0038405875699152707</c:v>
                </c:pt>
                <c:pt idx="5">
                  <c:v>3.7303505653966744e-09</c:v>
                </c:pt>
                <c:pt idx="6">
                  <c:v>0.0025128495530158694</c:v>
                </c:pt>
                <c:pt idx="7">
                  <c:v/>
                </c:pt>
                <c:pt idx="8">
                  <c:v>0.005379331451585775</c:v>
                </c:pt>
                <c:pt idx="9">
                  <c:v>6.817537240207715e-09</c:v>
                </c:pt>
                <c:pt idx="10">
                  <c:v>0.0009388123101150345</c:v>
                </c:pt>
                <c:pt idx="11">
                  <c:v/>
                </c:pt>
                <c:pt idx="12">
                  <c:v>6.2798522276781255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6.533148946637325e-08</c:v>
                </c:pt>
                <c:pt idx="1">
                  <c:v/>
                </c:pt>
                <c:pt idx="2">
                  <c:v>0.010812154895849335</c:v>
                </c:pt>
                <c:pt idx="3">
                  <c:v/>
                </c:pt>
                <c:pt idx="4">
                  <c:v>0.0053404629914445435</c:v>
                </c:pt>
                <c:pt idx="5">
                  <c:v/>
                </c:pt>
                <c:pt idx="6">
                  <c:v>0.0007061419370462419</c:v>
                </c:pt>
                <c:pt idx="7">
                  <c:v/>
                </c:pt>
                <c:pt idx="8">
                  <c:v>0.007958913973581195</c:v>
                </c:pt>
                <c:pt idx="9">
                  <c:v/>
                </c:pt>
                <c:pt idx="10">
                  <c:v>0.001404894882633837</c:v>
                </c:pt>
                <c:pt idx="11">
                  <c:v/>
                </c:pt>
                <c:pt idx="12">
                  <c:v>1.9200108110548768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27371261184344728</c:v>
                </c:pt>
                <c:pt idx="4">
                  <c:v>0.061681669626251885</c:v>
                </c:pt>
                <c:pt idx="5">
                  <c:v>0.0341174341265634</c:v>
                </c:pt>
                <c:pt idx="6">
                  <c:v>0.11202142177201879</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9200108110548768e-05</c:v>
                </c:pt>
                <c:pt idx="1">
                  <c:v/>
                </c:pt>
                <c:pt idx="2">
                  <c:v/>
                </c:pt>
                <c:pt idx="3">
                  <c:v>0.001404894882633837</c:v>
                </c:pt>
                <c:pt idx="4">
                  <c:v/>
                </c:pt>
                <c:pt idx="5">
                  <c:v>0.007958913973581195</c:v>
                </c:pt>
                <c:pt idx="6">
                  <c:v>0.0007061419370462419</c:v>
                </c:pt>
                <c:pt idx="7">
                  <c:v/>
                </c:pt>
                <c:pt idx="8">
                  <c:v>0.0053404629914445435</c:v>
                </c:pt>
                <c:pt idx="9">
                  <c:v/>
                </c:pt>
                <c:pt idx="10">
                  <c:v>0.010812154895849335</c:v>
                </c:pt>
                <c:pt idx="11">
                  <c:v/>
                </c:pt>
                <c:pt idx="12">
                  <c:v>6.533148946637325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36451473003585645</c:v>
                </c:pt>
                <c:pt idx="5">
                  <c:v/>
                </c:pt>
                <c:pt idx="6">
                  <c:v>0.0017075965277870697</c:v>
                </c:pt>
                <c:pt idx="7">
                  <c:v>6.07146712712838e-08</c:v>
                </c:pt>
                <c:pt idx="8">
                  <c:v>0.0063088928781969604</c:v>
                </c:pt>
                <c:pt idx="9">
                  <c:v/>
                </c:pt>
                <c:pt idx="10">
                  <c:v>0.003134797782241089</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06129154532006021</c:v>
                </c:pt>
                <c:pt idx="5">
                  <c:v/>
                </c:pt>
                <c:pt idx="6">
                  <c:v>0.001504742631272532</c:v>
                </c:pt>
                <c:pt idx="7">
                  <c:v/>
                </c:pt>
                <c:pt idx="8">
                  <c:v>0.006295989923369062</c:v>
                </c:pt>
                <c:pt idx="9">
                  <c:v/>
                </c:pt>
                <c:pt idx="10">
                  <c:v>0.00470296975024233</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013210000998416393</c:v>
                </c:pt>
                <c:pt idx="1">
                  <c:v>0.0019200574149634607</c:v>
                </c:pt>
                <c:pt idx="2">
                  <c:v>2.0942137241289717e-07</c:v>
                </c:pt>
                <c:pt idx="3">
                  <c:v>0.027371261184344728</c:v>
                </c:pt>
                <c:pt idx="4">
                  <c:v>0.061681669626251885</c:v>
                </c:pt>
                <c:pt idx="5">
                  <c:v>0.0341174341265634</c:v>
                </c:pt>
                <c:pt idx="6">
                  <c:v>0.11202142177201879</c:v>
                </c:pt>
                <c:pt idx="7">
                  <c:v>0.12558123125571202</c:v>
                </c:pt>
                <c:pt idx="8">
                  <c:v>0.44086480824993957</c:v>
                </c:pt>
                <c:pt idx="9">
                  <c:v>0.0643504981996082</c:v>
                </c:pt>
                <c:pt idx="10">
                  <c:v>0.13114877323465618</c:v>
                </c:pt>
                <c:pt idx="11">
                  <c:v>0.0005045559208205016</c:v>
                </c:pt>
                <c:pt idx="12">
                  <c:v>0.00030597958376470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0470296975024233</c:v>
                </c:pt>
                <c:pt idx="4">
                  <c:v/>
                </c:pt>
                <c:pt idx="5">
                  <c:v>0.006295989923369062</c:v>
                </c:pt>
                <c:pt idx="6">
                  <c:v>0.001504742631272532</c:v>
                </c:pt>
                <c:pt idx="7">
                  <c:v/>
                </c:pt>
                <c:pt idx="8">
                  <c:v>0.006129154532006021</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5233206825432513</c:v>
                </c:pt>
                <c:pt idx="5">
                  <c:v/>
                </c:pt>
                <c:pt idx="6">
                  <c:v>0.024515348950153868</c:v>
                </c:pt>
                <c:pt idx="7">
                  <c:v>8.716586900878304e-07</c:v>
                </c:pt>
                <c:pt idx="8">
                  <c:v>0.08517887685636501</c:v>
                </c:pt>
                <c:pt idx="9">
                  <c:v/>
                </c:pt>
                <c:pt idx="10">
                  <c:v>0.03961192528885573</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0.11085873447412328</c:v>
                </c:pt>
                <c:pt idx="10">
                  <c:v>0.0012662711277150168</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526041463350669</c:v>
                </c:pt>
                <c:pt idx="5">
                  <c:v/>
                </c:pt>
                <c:pt idx="6">
                  <c:v>0.033856581368870375</c:v>
                </c:pt>
                <c:pt idx="7">
                  <c:v/>
                </c:pt>
                <c:pt idx="8">
                  <c:v>0.08502524402054405</c:v>
                </c:pt>
                <c:pt idx="9">
                  <c:v/>
                </c:pt>
                <c:pt idx="10">
                  <c:v>0.04373994730233104</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4373994730233104</c:v>
                </c:pt>
                <c:pt idx="4">
                  <c:v/>
                </c:pt>
                <c:pt idx="5">
                  <c:v>0.08502524402054405</c:v>
                </c:pt>
                <c:pt idx="6">
                  <c:v>0.033856581368870375</c:v>
                </c:pt>
                <c:pt idx="7">
                  <c:v/>
                </c:pt>
                <c:pt idx="8">
                  <c:v>0.0526041463350669</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
                </c:pt>
                <c:pt idx="4">
                  <c:v>0.001581206590789193</c:v>
                </c:pt>
                <c:pt idx="5">
                  <c:v>1.6928073600213875e-07</c:v>
                </c:pt>
                <c:pt idx="6">
                  <c:v>0.02103873803653275</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09318942391174119</c:v>
                </c:pt>
                <c:pt idx="3">
                  <c:v/>
                </c:pt>
                <c:pt idx="4">
                  <c:v>0.055137933884248834</c:v>
                </c:pt>
                <c:pt idx="5">
                  <c:v>5.355530087404042e-08</c:v>
                </c:pt>
                <c:pt idx="6">
                  <c:v>0.034736632971327265</c:v>
                </c:pt>
                <c:pt idx="7">
                  <c:v/>
                </c:pt>
                <c:pt idx="8">
                  <c:v>0.06767013652507513</c:v>
                </c:pt>
                <c:pt idx="9">
                  <c:v>9.787692918359111e-08</c:v>
                </c:pt>
                <c:pt idx="10">
                  <c:v>0.01347819054832375</c:v>
                </c:pt>
                <c:pt idx="11">
                  <c:v/>
                </c:pt>
                <c:pt idx="12">
                  <c:v>9.01575789196777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0.13883172631490734</c:v>
                </c:pt>
                <c:pt idx="3">
                  <c:v/>
                </c:pt>
                <c:pt idx="4">
                  <c:v>0.0685733513406976</c:v>
                </c:pt>
                <c:pt idx="5">
                  <c:v/>
                </c:pt>
                <c:pt idx="6">
                  <c:v>0.008519953373459404</c:v>
                </c:pt>
                <c:pt idx="7">
                  <c:v/>
                </c:pt>
                <c:pt idx="8">
                  <c:v>0.08527918524100789</c:v>
                </c:pt>
                <c:pt idx="9">
                  <c:v/>
                </c:pt>
                <c:pt idx="10">
                  <c:v>0.01803932553000234</c:v>
                </c:pt>
                <c:pt idx="11">
                  <c:v/>
                </c:pt>
                <c:pt idx="12">
                  <c:v>0.000246535883003639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13210000998416393</c:v>
                </c:pt>
                <c:pt idx="1">
                  <c:v>2.0942137241289717e-07</c:v>
                </c:pt>
                <c:pt idx="2">
                  <c:v>0.0019200574149634607</c:v>
                </c:pt>
                <c:pt idx="3">
                  <c:v>0.027371261184344728</c:v>
                </c:pt>
                <c:pt idx="4">
                  <c:v>0.061681669626251885</c:v>
                </c:pt>
                <c:pt idx="5">
                  <c:v>0.0341174341265634</c:v>
                </c:pt>
                <c:pt idx="6">
                  <c:v>0.11202142177201879</c:v>
                </c:pt>
                <c:pt idx="7">
                  <c:v>0.12558123125571202</c:v>
                </c:pt>
                <c:pt idx="8">
                  <c:v>0.44086480824993957</c:v>
                </c:pt>
                <c:pt idx="9">
                  <c:v>0.0643504981996082</c:v>
                </c:pt>
                <c:pt idx="10">
                  <c:v>0.13114877323465618</c:v>
                </c:pt>
                <c:pt idx="11">
                  <c:v>0.00030597958376470086</c:v>
                </c:pt>
                <c:pt idx="12">
                  <c:v>0.000504555920820501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024653588300363943</c:v>
                </c:pt>
                <c:pt idx="1">
                  <c:v/>
                </c:pt>
                <c:pt idx="2">
                  <c:v/>
                </c:pt>
                <c:pt idx="3">
                  <c:v>0.01803932553000234</c:v>
                </c:pt>
                <c:pt idx="4">
                  <c:v/>
                </c:pt>
                <c:pt idx="5">
                  <c:v>0.08527918524100789</c:v>
                </c:pt>
                <c:pt idx="6">
                  <c:v>0.008519953373459404</c:v>
                </c:pt>
                <c:pt idx="7">
                  <c:v/>
                </c:pt>
                <c:pt idx="8">
                  <c:v>0.0685733513406976</c:v>
                </c:pt>
                <c:pt idx="9">
                  <c:v/>
                </c:pt>
                <c:pt idx="10">
                  <c:v>0.13883172631490734</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
                </c:pt>
                <c:pt idx="1">
                  <c:v/>
                </c:pt>
                <c:pt idx="2">
                  <c:v>0.0012662711277150168</c:v>
                </c:pt>
                <c:pt idx="3">
                  <c:v>0.11085873447412328</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
                </c:pt>
                <c:pt idx="4">
                  <c:v>0.001581206590789193</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5233206825432513</c:v>
                </c:pt>
                <c:pt idx="5">
                  <c:v/>
                </c:pt>
                <c:pt idx="6">
                  <c:v>0.024515348950153868</c:v>
                </c:pt>
                <c:pt idx="7">
                  <c:v>8.716586900878304e-07</c:v>
                </c:pt>
                <c:pt idx="8">
                  <c:v>0.08517887685636501</c:v>
                </c:pt>
                <c:pt idx="9">
                  <c:v/>
                </c:pt>
                <c:pt idx="10">
                  <c:v>0.03961192528885573</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29885767359849693</c:v>
                </c:pt>
                <c:pt idx="4">
                  <c:v>0.00673481582160936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0.0787004175139863</c:v>
                </c:pt>
                <c:pt idx="5">
                  <c:v/>
                </c:pt>
                <c:pt idx="6">
                  <c:v>0.01932140439824797</c:v>
                </c:pt>
                <c:pt idx="7">
                  <c:v/>
                </c:pt>
                <c:pt idx="8">
                  <c:v>0.07178276387539519</c:v>
                </c:pt>
                <c:pt idx="9">
                  <c:v/>
                </c:pt>
                <c:pt idx="10">
                  <c:v>0.05284718063657199</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013210000998416393</c:v>
                </c:pt>
                <c:pt idx="1">
                  <c:v>0.0019200574149634607</c:v>
                </c:pt>
                <c:pt idx="2">
                  <c:v>2.0942137241289717e-07</c:v>
                </c:pt>
                <c:pt idx="3">
                  <c:v>0.027371261184344728</c:v>
                </c:pt>
                <c:pt idx="4">
                  <c:v>0.061681669626251885</c:v>
                </c:pt>
                <c:pt idx="5">
                  <c:v>0.0341174341265634</c:v>
                </c:pt>
                <c:pt idx="6">
                  <c:v>0.11202142177201879</c:v>
                </c:pt>
                <c:pt idx="7">
                  <c:v>0.12558123125571202</c:v>
                </c:pt>
                <c:pt idx="8">
                  <c:v>0.44086480824993957</c:v>
                </c:pt>
                <c:pt idx="9">
                  <c:v>0.0643504981996082</c:v>
                </c:pt>
                <c:pt idx="10">
                  <c:v>0.13114877323465618</c:v>
                </c:pt>
                <c:pt idx="11">
                  <c:v>0.0005045559208205016</c:v>
                </c:pt>
                <c:pt idx="12">
                  <c:v>0.0003059795837647008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5284718063657199</c:v>
                </c:pt>
                <c:pt idx="4">
                  <c:v/>
                </c:pt>
                <c:pt idx="5">
                  <c:v>0.07178276387539519</c:v>
                </c:pt>
                <c:pt idx="6">
                  <c:v>0.01932140439824797</c:v>
                </c:pt>
                <c:pt idx="7">
                  <c:v/>
                </c:pt>
                <c:pt idx="8">
                  <c:v>0.0787004175139863</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0.001581206590789193</c:v>
                </c:pt>
                <c:pt idx="4">
                  <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0.020110324760778144</c:v>
                </c:pt>
                <c:pt idx="7">
                  <c:v/>
                </c:pt>
                <c:pt idx="8">
                  <c:v>0.06841718773242574</c:v>
                </c:pt>
                <c:pt idx="9">
                  <c:v/>
                </c:pt>
                <c:pt idx="10">
                  <c:v>0.016040954531526964</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0.036411951396942636</c:v>
                </c:pt>
                <c:pt idx="7">
                  <c:v/>
                </c:pt>
                <c:pt idx="8">
                  <c:v>0.08625463222190179</c:v>
                </c:pt>
                <c:pt idx="9">
                  <c:v/>
                </c:pt>
                <c:pt idx="10">
                  <c:v>0.024760042330392758</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0.024760042330392758</c:v>
                </c:pt>
                <c:pt idx="4">
                  <c:v/>
                </c:pt>
                <c:pt idx="5">
                  <c:v>0.08625463222190179</c:v>
                </c:pt>
                <c:pt idx="6">
                  <c:v>0.036411951396942636</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0.0018683280720899879</c:v>
                </c:pt>
                <c:pt idx="1">
                  <c:v/>
                </c:pt>
                <c:pt idx="2">
                  <c:v>0.009880025263925264</c:v>
                </c:pt>
                <c:pt idx="3">
                  <c:v>0.001581206590789193</c:v>
                </c:pt>
                <c:pt idx="4">
                  <c:v/>
                </c:pt>
                <c:pt idx="5">
                  <c:v>0.02103873803653275</c:v>
                </c:pt>
                <c:pt idx="6">
                  <c:v>1.6928073600213875e-07</c:v>
                </c:pt>
                <c:pt idx="7">
                  <c:v>3.528268470974668e-06</c:v>
                </c:pt>
                <c:pt idx="8">
                  <c:v>0.0279463314705986</c:v>
                </c:pt>
                <c:pt idx="9">
                  <c:v/>
                </c:pt>
                <c:pt idx="10">
                  <c:v>0.0009760724665227757</c:v>
                </c:pt>
                <c:pt idx="11">
                  <c:v/>
                </c:pt>
                <c:pt idx="12">
                  <c:v>2.153312705680701e-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4371210895374736</c:v>
                </c:pt>
                <c:pt idx="9">
                  <c:v/>
                </c:pt>
                <c:pt idx="10">
                  <c:v>0.004369274925996972</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4423559586938555e-05</c:v>
                </c:pt>
                <c:pt idx="1">
                  <c:v>2.2866021313230638e-08</c:v>
                </c:pt>
                <c:pt idx="2">
                  <c:v>0.0002096446664795001</c:v>
                </c:pt>
                <c:pt idx="3">
                  <c:v>0.006734815821609363</c:v>
                </c:pt>
                <c:pt idx="4">
                  <c:v>0.0029885767359849693</c:v>
                </c:pt>
                <c:pt idx="5">
                  <c:v>0.012231245494500597</c:v>
                </c:pt>
                <c:pt idx="6">
                  <c:v>0.00372516886362787</c:v>
                </c:pt>
                <c:pt idx="7">
                  <c:v>0.013711795875223731</c:v>
                </c:pt>
                <c:pt idx="8">
                  <c:v>0.04813655829654773</c:v>
                </c:pt>
                <c:pt idx="9">
                  <c:v>0.0070262163140070825</c:v>
                </c:pt>
                <c:pt idx="10">
                  <c:v>0.014319697218272151</c:v>
                </c:pt>
                <c:pt idx="11">
                  <c:v>3.340889042586662e-05</c:v>
                </c:pt>
                <c:pt idx="12">
                  <c:v>5.5090778492519245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0.0030402933460139136</c:v>
                </c:pt>
                <c:pt idx="9">
                  <c:v/>
                </c:pt>
                <c:pt idx="10">
                  <c:v>0.0054087455271764505</c:v>
                </c:pt>
                <c:pt idx="11">
                  <c:v/>
                </c:pt>
                <c:pt idx="12">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
                </c:pt>
                <c:pt idx="4">
                  <c:v/>
                </c:pt>
                <c:pt idx="5">
                  <c:v/>
                </c:pt>
                <c:pt idx="6">
                  <c:v/>
                </c:pt>
                <c:pt idx="7">
                  <c:v/>
                </c:pt>
                <c:pt idx="8">
                  <c:v/>
                </c:pt>
                <c:pt idx="9">
                  <c:v/>
                </c:pt>
                <c:pt idx="10">
                  <c:v/>
                </c:pt>
                <c:pt idx="11">
                  <c:v/>
                </c:pt>
                <c:pt idx="12">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
                </c:pt>
                <c:pt idx="1">
                  <c:v/>
                </c:pt>
                <c:pt idx="2">
                  <c:v/>
                </c:pt>
                <c:pt idx="3">
                  <c:v>0.0054087455271764505</c:v>
                </c:pt>
                <c:pt idx="4">
                  <c:v/>
                </c:pt>
                <c:pt idx="5">
                  <c:v>0.0030402933460139136</c:v>
                </c:pt>
                <c:pt idx="6">
                  <c:v/>
                </c:pt>
                <c:pt idx="7">
                  <c:v/>
                </c:pt>
                <c:pt idx="8">
                  <c:v/>
                </c:pt>
                <c:pt idx="9">
                  <c:v/>
                </c:pt>
                <c:pt idx="10">
                  <c:v/>
                </c:pt>
                <c:pt idx="11">
                  <c:v/>
                </c:pt>
                <c:pt idx="12">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0.0018683280720899879</c:v>
                </c:pt>
                <c:pt idx="1">
                  <c:v>0.009880025263925264</c:v>
                </c:pt>
                <c:pt idx="2">
                  <c:v/>
                </c:pt>
                <c:pt idx="3">
                  <c:v>0.001581206590789193</c:v>
                </c:pt>
                <c:pt idx="4">
                  <c:v/>
                </c:pt>
                <c:pt idx="5">
                  <c:v>1.6928073600213875e-07</c:v>
                </c:pt>
                <c:pt idx="6">
                  <c:v>0.02103873803653275</c:v>
                </c:pt>
                <c:pt idx="7">
                  <c:v>3.528268470974668e-06</c:v>
                </c:pt>
                <c:pt idx="8">
                  <c:v>0.0279463314705986</c:v>
                </c:pt>
                <c:pt idx="9">
                  <c:v/>
                </c:pt>
                <c:pt idx="10">
                  <c:v>0.0009760724665227757</c:v>
                </c:pt>
                <c:pt idx="11">
                  <c:v>2.153312705680701e-07</c:v>
                </c:pt>
                <c:pt idx="12">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
                </c:pt>
                <c:pt idx="1">
                  <c:v/>
                </c:pt>
                <c:pt idx="2">
                  <c:v/>
                </c:pt>
                <c:pt idx="3">
                  <c:v/>
                </c:pt>
                <c:pt idx="4">
                  <c:v/>
                </c:pt>
                <c:pt idx="5">
                  <c:v/>
                </c:pt>
                <c:pt idx="6">
                  <c:v>0.020110324760778144</c:v>
                </c:pt>
                <c:pt idx="7">
                  <c:v/>
                </c:pt>
                <c:pt idx="8">
                  <c:v>0.06841718773242574</c:v>
                </c:pt>
                <c:pt idx="9">
                  <c:v/>
                </c:pt>
                <c:pt idx="10">
                  <c:v>0.016040954531526964</c:v>
                </c:pt>
                <c:pt idx="11">
                  <c:v/>
                </c:pt>
                <c:pt idx="12">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4423559586938555e-05</c:v>
                </c:pt>
                <c:pt idx="1">
                  <c:v>0.0002096446664795001</c:v>
                </c:pt>
                <c:pt idx="2">
                  <c:v>2.2866021313230638e-08</c:v>
                </c:pt>
                <c:pt idx="3">
                  <c:v>0.006734815821609363</c:v>
                </c:pt>
                <c:pt idx="4">
                  <c:v>0.0029885767359849693</c:v>
                </c:pt>
                <c:pt idx="5">
                  <c:v>0.00372516886362787</c:v>
                </c:pt>
                <c:pt idx="6">
                  <c:v>0.012231245494500597</c:v>
                </c:pt>
                <c:pt idx="7">
                  <c:v>0.013711795875223731</c:v>
                </c:pt>
                <c:pt idx="8">
                  <c:v>0.04813655829654773</c:v>
                </c:pt>
                <c:pt idx="9">
                  <c:v>0.0070262163140070825</c:v>
                </c:pt>
                <c:pt idx="10">
                  <c:v>0.014319697218272151</c:v>
                </c:pt>
                <c:pt idx="11">
                  <c:v>5.5090778492519245e-05</c:v>
                </c:pt>
                <c:pt idx="12">
                  <c:v>3.340889042586662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76504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6935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3842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89045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4826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0214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27271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578353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4521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8118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9928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43216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92889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34398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60300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69043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38134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9668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333177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450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9762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58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79312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93988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22996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56169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80647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1646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25"/>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31309">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31309">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31309">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31309">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31309">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31309">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31309">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31309">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31309">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31309">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31309">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31309">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31309">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54371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335</Words>
  <Application>Microsoft Office PowerPoint</Application>
  <PresentationFormat>On-screen Show (16:9)</PresentationFormat>
  <Paragraphs>1247</Paragraphs>
  <Slides>29</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